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00228717755256</c:v>
                </c:pt>
                <c:pt idx="1">
                  <c:v>38.250208063151732</c:v>
                </c:pt>
                <c:pt idx="2">
                  <c:v>40.446498377022053</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7.842711000000001</c:v>
                </c:pt>
                <c:pt idx="1">
                  <c:v>5.4755540000000025</c:v>
                </c:pt>
                <c:pt idx="2">
                  <c:v>4.6707409999999996</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1.844998177552561</c:v>
                </c:pt>
                <c:pt idx="1">
                  <c:v>43.725762063151734</c:v>
                </c:pt>
                <c:pt idx="2">
                  <c:v>45.117239377022052</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5.06702790442932</c:v>
                </c:pt>
                <c:pt idx="1">
                  <c:v>155.80933221076126</c:v>
                </c:pt>
                <c:pt idx="2">
                  <c:v>157.0574718505895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5568954004477789</c:v>
                </c:pt>
                <c:pt idx="1">
                  <c:v>132.86284660940504</c:v>
                </c:pt>
                <c:pt idx="2">
                  <c:v>126.4481311526846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9.62392330487708</c:v>
                </c:pt>
                <c:pt idx="1">
                  <c:v>288.67217882016632</c:v>
                </c:pt>
                <c:pt idx="2">
                  <c:v>283.5056030032741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157.05747185058954</c:v>
                </c:pt>
                <c:pt idx="2">
                  <c:v>88.224092107256993</c:v>
                </c:pt>
                <c:pt idx="3">
                  <c:v>106.3862670063909</c:v>
                </c:pt>
                <c:pt idx="4">
                  <c:v>137.9113273075391</c:v>
                </c:pt>
                <c:pt idx="5">
                  <c:v>67.335353332125663</c:v>
                </c:pt>
                <c:pt idx="7">
                  <c:v>99.964259938328155</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126.44813115268462</c:v>
                </c:pt>
                <c:pt idx="2">
                  <c:v>9.9213469916401742</c:v>
                </c:pt>
                <c:pt idx="3">
                  <c:v>8.5160324588355785</c:v>
                </c:pt>
                <c:pt idx="4">
                  <c:v>191.33777392401072</c:v>
                </c:pt>
                <c:pt idx="5">
                  <c:v>83.323174058773091</c:v>
                </c:pt>
                <c:pt idx="7">
                  <c:v>73.274581858314889</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283.50560300327419</c:v>
                </c:pt>
                <c:pt idx="2">
                  <c:v>98.145439098897171</c:v>
                </c:pt>
                <c:pt idx="3">
                  <c:v>114.90229946522648</c:v>
                </c:pt>
                <c:pt idx="4">
                  <c:v>329.24910123154979</c:v>
                </c:pt>
                <c:pt idx="5">
                  <c:v>150.65852739089874</c:v>
                </c:pt>
                <c:pt idx="7">
                  <c:v>173.23884179664304</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000954634188657</c:v>
                </c:pt>
                <c:pt idx="2">
                  <c:v>3.9781077100568538</c:v>
                </c:pt>
                <c:pt idx="3">
                  <c:v>3.9855209901581174</c:v>
                </c:pt>
                <c:pt idx="4">
                  <c:v>4.0886845433777799</c:v>
                </c:pt>
                <c:pt idx="6">
                  <c:v>7.2283876632371218</c:v>
                </c:pt>
                <c:pt idx="7">
                  <c:v>7.2283876632371218</c:v>
                </c:pt>
                <c:pt idx="8">
                  <c:v>7.2397652180747167</c:v>
                </c:pt>
                <c:pt idx="9">
                  <c:v>7.228542359774481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840814634188659</c:v>
                </c:pt>
                <c:pt idx="5">
                  <c:v>3.97267054337778</c:v>
                </c:pt>
                <c:pt idx="10">
                  <c:v>4.004494359774481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67801224663798798</c:v>
                </c:pt>
                <c:pt idx="2">
                  <c:v>7.4132801012638475E-3</c:v>
                </c:pt>
                <c:pt idx="3">
                  <c:v>0.1031635532196624</c:v>
                </c:pt>
                <c:pt idx="7">
                  <c:v>1.1377554837594742E-2</c:v>
                </c:pt>
                <c:pt idx="8">
                  <c:v>0.1523331416997654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0.1318868801406586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1601400000000001</c:v>
                </c:pt>
                <c:pt idx="5">
                  <c:v>3.3876040000000001</c:v>
                </c:pt>
                <c:pt idx="10">
                  <c:v>3.224047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271590000000000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16355600000000026</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3000954634188657</c:v>
                </c:pt>
                <c:pt idx="5">
                  <c:v>7.3602745433777805</c:v>
                </c:pt>
                <c:pt idx="10">
                  <c:v>7.228542359774481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Re-integratie klassiek</c:v>
                </c:pt>
                <c:pt idx="3">
                  <c:v>Inwoners</c:v>
                </c:pt>
                <c:pt idx="4">
                  <c:v>Klantenpotentieel regionaal</c:v>
                </c:pt>
                <c:pt idx="5">
                  <c:v>Eenpersoonshuishoudens</c:v>
                </c:pt>
                <c:pt idx="6">
                  <c:v>Loonkostensubsidie</c:v>
                </c:pt>
                <c:pt idx="7">
                  <c:v>Omgevingsadressendichtheid</c:v>
                </c:pt>
                <c:pt idx="10">
                  <c:v>Overig</c:v>
                </c:pt>
              </c:strCache>
            </c:strRef>
          </c:cat>
          <c:val>
            <c:numRef>
              <c:f>Sheet1!$B$2:$B$12</c:f>
              <c:numCache>
                <c:formatCode>General</c:formatCode>
                <c:ptCount val="11"/>
                <c:pt idx="0">
                  <c:v>1.7316499907200011</c:v>
                </c:pt>
                <c:pt idx="1">
                  <c:v>0.81641135347200011</c:v>
                </c:pt>
                <c:pt idx="2">
                  <c:v>0.75714446459080009</c:v>
                </c:pt>
                <c:pt idx="3">
                  <c:v>0.31483491623999998</c:v>
                </c:pt>
                <c:pt idx="4">
                  <c:v>0.1315377492</c:v>
                </c:pt>
                <c:pt idx="5">
                  <c:v>0.12520824732000002</c:v>
                </c:pt>
                <c:pt idx="6">
                  <c:v>9.7655782120000006E-2</c:v>
                </c:pt>
                <c:pt idx="7">
                  <c:v>3.005185611168000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3.0704500000000001</c:v>
                </c:pt>
                <c:pt idx="1">
                  <c:v>0.115068</c:v>
                </c:pt>
                <c:pt idx="2">
                  <c:v>3.8530000000000002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0890880900793309</c:v>
                </c:pt>
                <c:pt idx="1">
                  <c:v>0.62801732317223991</c:v>
                </c:pt>
                <c:pt idx="2">
                  <c:v>0.68233165435725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9635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0890880900793309</c:v>
                </c:pt>
                <c:pt idx="1">
                  <c:v>0.62801732317223991</c:v>
                </c:pt>
                <c:pt idx="2">
                  <c:v>0.711967654357253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91723198114353</c:v>
                </c:pt>
                <c:pt idx="1">
                  <c:v>24.631028088490407</c:v>
                </c:pt>
                <c:pt idx="2">
                  <c:v>26.76125247508543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2332823469427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91723198114353</c:v>
                </c:pt>
                <c:pt idx="1">
                  <c:v>24.631028088490407</c:v>
                </c:pt>
                <c:pt idx="2">
                  <c:v>27.92358529855486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26.761252475085438</c:v>
                </c:pt>
                <c:pt idx="2">
                  <c:v>26.827075656478414</c:v>
                </c:pt>
                <c:pt idx="3">
                  <c:v>22.818871615830243</c:v>
                </c:pt>
                <c:pt idx="4">
                  <c:v>24.168127759987911</c:v>
                </c:pt>
                <c:pt idx="5">
                  <c:v>20.667631204164003</c:v>
                </c:pt>
                <c:pt idx="7">
                  <c:v>23.620426559115145</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1.1623328234694277</c:v>
                </c:pt>
                <c:pt idx="2">
                  <c:v>1.1628792338788807</c:v>
                </c:pt>
                <c:pt idx="3">
                  <c:v>1.1642637674308673</c:v>
                </c:pt>
                <c:pt idx="4">
                  <c:v>1.1630931735771717</c:v>
                </c:pt>
                <c:pt idx="5">
                  <c:v>1.1599111388260972</c:v>
                </c:pt>
                <c:pt idx="7">
                  <c:v>1.1625368284282542</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27.923585298554862</c:v>
                </c:pt>
                <c:pt idx="2">
                  <c:v>27.989954890357296</c:v>
                </c:pt>
                <c:pt idx="3">
                  <c:v>23.983135383261111</c:v>
                </c:pt>
                <c:pt idx="4">
                  <c:v>25.331220933565081</c:v>
                </c:pt>
                <c:pt idx="5">
                  <c:v>21.8275423429901</c:v>
                </c:pt>
                <c:pt idx="7">
                  <c:v>24.782963387543397</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0890880900793309</c:v>
                </c:pt>
                <c:pt idx="2">
                  <c:v>1.4299621498639521</c:v>
                </c:pt>
                <c:pt idx="3">
                  <c:v>0.62801732317223968</c:v>
                </c:pt>
                <c:pt idx="4">
                  <c:v>0.62801732317223968</c:v>
                </c:pt>
                <c:pt idx="6">
                  <c:v>0.6231078190263033</c:v>
                </c:pt>
                <c:pt idx="7">
                  <c:v>0.6231078190263033</c:v>
                </c:pt>
                <c:pt idx="8">
                  <c:v>0.65118344485127677</c:v>
                </c:pt>
                <c:pt idx="9">
                  <c:v>0.682331654357253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0890880900793309</c:v>
                </c:pt>
                <c:pt idx="5">
                  <c:v>0.62801732317223991</c:v>
                </c:pt>
                <c:pt idx="10">
                  <c:v>0.6823316543572535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82105334085601911</c:v>
                </c:pt>
                <c:pt idx="2">
                  <c:v>0.36918379227296205</c:v>
                </c:pt>
                <c:pt idx="7">
                  <c:v>2.807562582497351E-2</c:v>
                </c:pt>
                <c:pt idx="8">
                  <c:v>3.114820950597664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3">
                  <c:v>1.1711286189646744</c:v>
                </c:pt>
                <c:pt idx="6">
                  <c:v>4.909504145936655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9635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9635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0890880900793309</c:v>
                </c:pt>
                <c:pt idx="5">
                  <c:v>0.62801732317223991</c:v>
                </c:pt>
                <c:pt idx="10">
                  <c:v>0.7119676543572535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uishoudens met laag inkomen (drempel)</c:v>
                </c:pt>
                <c:pt idx="1">
                  <c:v>Jongeren</c:v>
                </c:pt>
                <c:pt idx="2">
                  <c:v>Inwoners</c:v>
                </c:pt>
                <c:pt idx="3">
                  <c:v>Eenouderhuishoudens</c:v>
                </c:pt>
                <c:pt idx="4">
                  <c:v>Bijstandsontvangers</c:v>
                </c:pt>
                <c:pt idx="5">
                  <c:v>Huishoudens</c:v>
                </c:pt>
                <c:pt idx="6">
                  <c:v>Uitkeringsontvangers</c:v>
                </c:pt>
                <c:pt idx="7">
                  <c:v>Omgevingsadressendichtheid</c:v>
                </c:pt>
                <c:pt idx="8">
                  <c:v>Klantenpotentieel lokaal</c:v>
                </c:pt>
                <c:pt idx="9">
                  <c:v>Klantenpotentieel regionaal</c:v>
                </c:pt>
                <c:pt idx="10">
                  <c:v>Overig</c:v>
                </c:pt>
              </c:strCache>
            </c:strRef>
          </c:cat>
          <c:val>
            <c:numRef>
              <c:f>Sheet1!$B$2:$B$12</c:f>
              <c:numCache>
                <c:formatCode>General</c:formatCode>
                <c:ptCount val="11"/>
                <c:pt idx="0">
                  <c:v>0.13206130423199999</c:v>
                </c:pt>
                <c:pt idx="1">
                  <c:v>0.13157837159999999</c:v>
                </c:pt>
                <c:pt idx="2">
                  <c:v>0.12207045708000003</c:v>
                </c:pt>
                <c:pt idx="3">
                  <c:v>5.6463137120000007E-2</c:v>
                </c:pt>
                <c:pt idx="4">
                  <c:v>4.7298025146666693E-2</c:v>
                </c:pt>
                <c:pt idx="5">
                  <c:v>3.4383959999999998E-2</c:v>
                </c:pt>
                <c:pt idx="6">
                  <c:v>2.4280841346666707E-2</c:v>
                </c:pt>
                <c:pt idx="7">
                  <c:v>2.1425860375920005E-2</c:v>
                </c:pt>
                <c:pt idx="8">
                  <c:v>2.08741104E-2</c:v>
                </c:pt>
                <c:pt idx="9">
                  <c:v>1.9677684000000001E-2</c:v>
                </c:pt>
                <c:pt idx="10">
                  <c:v>7.221790305599995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42.78200940934676</c:v>
                </c:pt>
                <c:pt idx="1">
                  <c:v>1500.1846516512426</c:v>
                </c:pt>
                <c:pt idx="2">
                  <c:v>1586.3238175872475</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00.84099925370208</c:v>
                </c:pt>
                <c:pt idx="1">
                  <c:v>214.75287288700642</c:v>
                </c:pt>
                <c:pt idx="2">
                  <c:v>183.18786523904774</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43.6230086630489</c:v>
                </c:pt>
                <c:pt idx="1">
                  <c:v>1714.9375245382489</c:v>
                </c:pt>
                <c:pt idx="2">
                  <c:v>1769.5116828262953</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9635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1537099394046684</c:v>
                </c:pt>
                <c:pt idx="1">
                  <c:v>6.4351271257958453</c:v>
                </c:pt>
                <c:pt idx="2">
                  <c:v>6.570926679574417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387699</c:v>
                </c:pt>
                <c:pt idx="2">
                  <c:v>0.9819069999999999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91537099394046684</c:v>
                </c:pt>
                <c:pt idx="1">
                  <c:v>7.8228261257958458</c:v>
                </c:pt>
                <c:pt idx="2">
                  <c:v>7.552833679574416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8.98116927090027</c:v>
                </c:pt>
                <c:pt idx="1">
                  <c:v>1366.2690288313895</c:v>
                </c:pt>
                <c:pt idx="2">
                  <c:v>1395.10120585444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94.62823779193207</c:v>
                </c:pt>
                <c:pt idx="2">
                  <c:v>208.4728237791932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8.98116927090027</c:v>
                </c:pt>
                <c:pt idx="1">
                  <c:v>1660.8972666233219</c:v>
                </c:pt>
                <c:pt idx="2">
                  <c:v>1603.57402963363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1395.1012058544409</c:v>
                </c:pt>
                <c:pt idx="2">
                  <c:v>1003.5137860408574</c:v>
                </c:pt>
                <c:pt idx="3">
                  <c:v>1040.9943670193927</c:v>
                </c:pt>
                <c:pt idx="4">
                  <c:v>1252.2582017423138</c:v>
                </c:pt>
                <c:pt idx="5">
                  <c:v>925.84827190615465</c:v>
                </c:pt>
                <c:pt idx="7">
                  <c:v>1055.6536566771797</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208.47282377919322</c:v>
                </c:pt>
                <c:pt idx="2">
                  <c:v>81.829012686155536</c:v>
                </c:pt>
                <c:pt idx="3">
                  <c:v>465.73646371601882</c:v>
                </c:pt>
                <c:pt idx="4">
                  <c:v>409.90160234709998</c:v>
                </c:pt>
                <c:pt idx="5">
                  <c:v>453.14272890484744</c:v>
                </c:pt>
                <c:pt idx="7">
                  <c:v>352.6524519135304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1603.5740296336342</c:v>
                </c:pt>
                <c:pt idx="2">
                  <c:v>1085.3427987270129</c:v>
                </c:pt>
                <c:pt idx="3">
                  <c:v>1506.7308307354115</c:v>
                </c:pt>
                <c:pt idx="4">
                  <c:v>1662.1598040894137</c:v>
                </c:pt>
                <c:pt idx="5">
                  <c:v>1378.9910008110021</c:v>
                </c:pt>
                <c:pt idx="7">
                  <c:v>1408.30610859071</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3862136343626281</c:v>
                </c:pt>
                <c:pt idx="2">
                  <c:v>0.83862136343626281</c:v>
                </c:pt>
                <c:pt idx="3">
                  <c:v>6.3990874361770214</c:v>
                </c:pt>
                <c:pt idx="4">
                  <c:v>6.4351271257958471</c:v>
                </c:pt>
                <c:pt idx="6">
                  <c:v>7.7986967959385183</c:v>
                </c:pt>
                <c:pt idx="7">
                  <c:v>7.6612486565852684</c:v>
                </c:pt>
                <c:pt idx="8">
                  <c:v>7.6612486565852684</c:v>
                </c:pt>
                <c:pt idx="9">
                  <c:v>7.552833679574419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1537099394046684</c:v>
                </c:pt>
                <c:pt idx="5">
                  <c:v>6.4351271257958471</c:v>
                </c:pt>
                <c:pt idx="10">
                  <c:v>6.57092667957441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5604660727407582</c:v>
                </c:pt>
                <c:pt idx="3">
                  <c:v>3.6039689618825387E-2</c:v>
                </c:pt>
                <c:pt idx="8">
                  <c:v>0.2973770229891510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6749630504204025E-2</c:v>
                </c:pt>
                <c:pt idx="6">
                  <c:v>2.4129329857329327E-2</c:v>
                </c:pt>
                <c:pt idx="7">
                  <c:v>0.13744813935324987</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387699</c:v>
                </c:pt>
                <c:pt idx="10">
                  <c:v>0.9819069999999999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3876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40579200000000004</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91537099394046684</c:v>
                </c:pt>
                <c:pt idx="5">
                  <c:v>7.8228261257958476</c:v>
                </c:pt>
                <c:pt idx="10">
                  <c:v>7.552833679574418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Gem. gestand. inkomen (huish. kinderen)</c:v>
                </c:pt>
                <c:pt idx="4">
                  <c:v>Eenouderhuishoudens</c:v>
                </c:pt>
                <c:pt idx="5">
                  <c:v>Ouders lang psychisch medicijngebruik</c:v>
                </c:pt>
                <c:pt idx="6">
                  <c:v>Eenouderhuishoudens 2 of meer kinderen</c:v>
                </c:pt>
                <c:pt idx="7">
                  <c:v>Bijstandsont. eenouderhuishoudens</c:v>
                </c:pt>
                <c:pt idx="8">
                  <c:v>Huishoudens laag inkomen (drempel)</c:v>
                </c:pt>
                <c:pt idx="9">
                  <c:v>BO leerlingen, leerlingengewicht 0,3</c:v>
                </c:pt>
                <c:pt idx="10">
                  <c:v>Overig</c:v>
                </c:pt>
              </c:strCache>
            </c:strRef>
          </c:cat>
          <c:val>
            <c:numRef>
              <c:f>Sheet1!$B$2:$B$12</c:f>
              <c:numCache>
                <c:formatCode>General</c:formatCode>
                <c:ptCount val="11"/>
                <c:pt idx="0">
                  <c:v>3.8724129756000001</c:v>
                </c:pt>
                <c:pt idx="1">
                  <c:v>2.0204065190400002</c:v>
                </c:pt>
                <c:pt idx="2">
                  <c:v>-1.2582290640192</c:v>
                </c:pt>
                <c:pt idx="3">
                  <c:v>-1.084504529108</c:v>
                </c:pt>
                <c:pt idx="4">
                  <c:v>0.8960918751200001</c:v>
                </c:pt>
                <c:pt idx="5">
                  <c:v>0.8404219751837998</c:v>
                </c:pt>
                <c:pt idx="6">
                  <c:v>0.66690348607999994</c:v>
                </c:pt>
                <c:pt idx="7">
                  <c:v>0.34464028040000094</c:v>
                </c:pt>
                <c:pt idx="8">
                  <c:v>0.24818263984800001</c:v>
                </c:pt>
                <c:pt idx="9">
                  <c:v>-0.24105377296</c:v>
                </c:pt>
                <c:pt idx="10">
                  <c:v>0.2656542943898161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98556100000000002</c:v>
                </c:pt>
                <c:pt idx="1">
                  <c:v>0</c:v>
                </c:pt>
                <c:pt idx="6">
                  <c:v>-3.654000000000000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4090920010772328</c:v>
                </c:pt>
                <c:pt idx="1">
                  <c:v>10.677363843426837</c:v>
                </c:pt>
                <c:pt idx="2">
                  <c:v>11.51105172141942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456321</c:v>
                </c:pt>
                <c:pt idx="1">
                  <c:v>0</c:v>
                </c:pt>
                <c:pt idx="2">
                  <c:v>2.606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8654130010772327</c:v>
                </c:pt>
                <c:pt idx="1">
                  <c:v>10.677363843426837</c:v>
                </c:pt>
                <c:pt idx="2">
                  <c:v>11.53712172141942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9051809213729</c:v>
                </c:pt>
                <c:pt idx="1">
                  <c:v>418.7694177129402</c:v>
                </c:pt>
                <c:pt idx="2">
                  <c:v>451.4669067505756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6.481440747869129</c:v>
                </c:pt>
                <c:pt idx="1">
                  <c:v>0</c:v>
                </c:pt>
                <c:pt idx="2">
                  <c:v>1.022473232144958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0.38662166924203</c:v>
                </c:pt>
                <c:pt idx="1">
                  <c:v>418.7694177129402</c:v>
                </c:pt>
                <c:pt idx="2">
                  <c:v>452.4893799827206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451.46690675057567</c:v>
                </c:pt>
                <c:pt idx="2">
                  <c:v>331.03712455337109</c:v>
                </c:pt>
                <c:pt idx="3">
                  <c:v>401.06343453064505</c:v>
                </c:pt>
                <c:pt idx="4">
                  <c:v>420.96580899999645</c:v>
                </c:pt>
                <c:pt idx="5">
                  <c:v>354.92307617054541</c:v>
                </c:pt>
                <c:pt idx="7">
                  <c:v>376.99736106363946</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1.0224732321449583</c:v>
                </c:pt>
                <c:pt idx="2">
                  <c:v>1.1162133521723772</c:v>
                </c:pt>
                <c:pt idx="3">
                  <c:v>0.28007563223824156</c:v>
                </c:pt>
                <c:pt idx="4">
                  <c:v>0.46705029166009776</c:v>
                </c:pt>
                <c:pt idx="5">
                  <c:v>1.2007950736612363</c:v>
                </c:pt>
                <c:pt idx="7">
                  <c:v>0.76603358743298822</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452.48937998272061</c:v>
                </c:pt>
                <c:pt idx="2">
                  <c:v>332.15333790554348</c:v>
                </c:pt>
                <c:pt idx="3">
                  <c:v>401.34351016288332</c:v>
                </c:pt>
                <c:pt idx="4">
                  <c:v>421.43285929165654</c:v>
                </c:pt>
                <c:pt idx="5">
                  <c:v>356.12387124420667</c:v>
                </c:pt>
                <c:pt idx="7">
                  <c:v>377.76339465107247</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96293450875912445</c:v>
                </c:pt>
                <c:pt idx="1">
                  <c:v>0.95905271176057771</c:v>
                </c:pt>
                <c:pt idx="2">
                  <c:v>0.94819964754228159</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96293450875912445</c:v>
                </c:pt>
                <c:pt idx="1">
                  <c:v>0.95905271176057771</c:v>
                </c:pt>
                <c:pt idx="2">
                  <c:v>0.9481996475422815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8654130010772327</c:v>
                </c:pt>
                <c:pt idx="2">
                  <c:v>5.9366762039729704</c:v>
                </c:pt>
                <c:pt idx="3">
                  <c:v>12.658198549543759</c:v>
                </c:pt>
                <c:pt idx="4">
                  <c:v>10.677363843426836</c:v>
                </c:pt>
                <c:pt idx="6">
                  <c:v>10.677363843426837</c:v>
                </c:pt>
                <c:pt idx="7">
                  <c:v>10.962833751530905</c:v>
                </c:pt>
                <c:pt idx="8">
                  <c:v>10.980422294735884</c:v>
                </c:pt>
                <c:pt idx="9">
                  <c:v>11.51105172141942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4090920010772328</c:v>
                </c:pt>
                <c:pt idx="5">
                  <c:v>10.677363843426837</c:v>
                </c:pt>
                <c:pt idx="10">
                  <c:v>11.51105172141942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1263202895737982E-2</c:v>
                </c:pt>
                <c:pt idx="2">
                  <c:v>6.7215223455707891</c:v>
                </c:pt>
                <c:pt idx="3">
                  <c:v>0.47548629388307817</c:v>
                </c:pt>
                <c:pt idx="6">
                  <c:v>0.28546990810406825</c:v>
                </c:pt>
                <c:pt idx="7">
                  <c:v>1.7588543204979205E-2</c:v>
                </c:pt>
                <c:pt idx="8">
                  <c:v>0.5306294266835426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456321</c:v>
                </c:pt>
                <c:pt idx="5">
                  <c:v>0</c:v>
                </c:pt>
                <c:pt idx="10">
                  <c:v>2.6069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6069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45632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8654130010772327</c:v>
                </c:pt>
                <c:pt idx="5">
                  <c:v>10.677363843426837</c:v>
                </c:pt>
                <c:pt idx="10">
                  <c:v>11.53712172141942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Ouderen</c:v>
                </c:pt>
                <c:pt idx="4">
                  <c:v>Wajong</c:v>
                </c:pt>
                <c:pt idx="5">
                  <c:v>Gem. gestandaardiseerd inkomen 75 t/m 84</c:v>
                </c:pt>
                <c:pt idx="6">
                  <c:v>Uitkeringsont. min bijstandsont.</c:v>
                </c:pt>
                <c:pt idx="7">
                  <c:v>Gem. gestandaardiseerd inkomen 85+</c:v>
                </c:pt>
                <c:pt idx="8">
                  <c:v>Huishoudens</c:v>
                </c:pt>
                <c:pt idx="9">
                  <c:v>Klantenpotentieel lokaal</c:v>
                </c:pt>
                <c:pt idx="10">
                  <c:v>Overig</c:v>
                </c:pt>
              </c:strCache>
            </c:strRef>
          </c:cat>
          <c:val>
            <c:numRef>
              <c:f>Sheet1!$B$2:$B$12</c:f>
              <c:numCache>
                <c:formatCode>General</c:formatCode>
                <c:ptCount val="11"/>
                <c:pt idx="0">
                  <c:v>2.7187573940357765</c:v>
                </c:pt>
                <c:pt idx="1">
                  <c:v>1.5870509534880002</c:v>
                </c:pt>
                <c:pt idx="2">
                  <c:v>1.3953845177999999</c:v>
                </c:pt>
                <c:pt idx="3">
                  <c:v>0.95353133616000019</c:v>
                </c:pt>
                <c:pt idx="4">
                  <c:v>0.85745955360000015</c:v>
                </c:pt>
                <c:pt idx="5">
                  <c:v>0.52327332986900399</c:v>
                </c:pt>
                <c:pt idx="6">
                  <c:v>0.45331348607999999</c:v>
                </c:pt>
                <c:pt idx="7">
                  <c:v>0.35860349546985604</c:v>
                </c:pt>
                <c:pt idx="8">
                  <c:v>0.33524361000000003</c:v>
                </c:pt>
                <c:pt idx="9">
                  <c:v>0.33359920879999999</c:v>
                </c:pt>
                <c:pt idx="10">
                  <c:v>1.994834836116789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606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255467042102</c:v>
                </c:pt>
                <c:pt idx="1">
                  <c:v>2.7510497691667197</c:v>
                </c:pt>
                <c:pt idx="2">
                  <c:v>2.89218788625312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3596999999999999E-2</c:v>
                </c:pt>
                <c:pt idx="1">
                  <c:v>5.3596999999999999E-2</c:v>
                </c:pt>
                <c:pt idx="2">
                  <c:v>5.3596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791437042101999</c:v>
                </c:pt>
                <c:pt idx="1">
                  <c:v>2.8046467691667196</c:v>
                </c:pt>
                <c:pt idx="2">
                  <c:v>2.94578488625312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03.14689019940926</c:v>
                </c:pt>
                <c:pt idx="1">
                  <c:v>584.08699982308269</c:v>
                </c:pt>
                <c:pt idx="2">
                  <c:v>614.0526297777325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8942218940372904</c:v>
                </c:pt>
                <c:pt idx="1">
                  <c:v>11.379405520169851</c:v>
                </c:pt>
                <c:pt idx="2">
                  <c:v>11.37940552016985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3.04111209344649</c:v>
                </c:pt>
                <c:pt idx="1">
                  <c:v>595.46640534325263</c:v>
                </c:pt>
                <c:pt idx="2">
                  <c:v>625.432035297902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614.05262977773259</c:v>
                </c:pt>
                <c:pt idx="2">
                  <c:v>361.15504753456156</c:v>
                </c:pt>
                <c:pt idx="3">
                  <c:v>540.07566937515173</c:v>
                </c:pt>
                <c:pt idx="4">
                  <c:v>511.67852560742057</c:v>
                </c:pt>
                <c:pt idx="5">
                  <c:v>432.68827802321368</c:v>
                </c:pt>
                <c:pt idx="7">
                  <c:v>461.39938013508686</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11.379405520169851</c:v>
                </c:pt>
                <c:pt idx="2">
                  <c:v>6.9419010847582276</c:v>
                </c:pt>
                <c:pt idx="3">
                  <c:v>14.564367557852167</c:v>
                </c:pt>
                <c:pt idx="4">
                  <c:v>15.55991875423155</c:v>
                </c:pt>
                <c:pt idx="5">
                  <c:v>10.51032315978456</c:v>
                </c:pt>
                <c:pt idx="7">
                  <c:v>11.894127639156626</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625.43203529790242</c:v>
                </c:pt>
                <c:pt idx="2">
                  <c:v>368.09694861931985</c:v>
                </c:pt>
                <c:pt idx="3">
                  <c:v>554.64003693300401</c:v>
                </c:pt>
                <c:pt idx="4">
                  <c:v>527.238444361652</c:v>
                </c:pt>
                <c:pt idx="5">
                  <c:v>443.19860118299823</c:v>
                </c:pt>
                <c:pt idx="7">
                  <c:v>473.29350777424349</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673849989251067</c:v>
                </c:pt>
                <c:pt idx="2">
                  <c:v>2.673849989251067</c:v>
                </c:pt>
                <c:pt idx="3">
                  <c:v>2.7597069574287101</c:v>
                </c:pt>
                <c:pt idx="4">
                  <c:v>2.8046467691667196</c:v>
                </c:pt>
                <c:pt idx="6">
                  <c:v>2.8046467691667201</c:v>
                </c:pt>
                <c:pt idx="7">
                  <c:v>2.8112377798345887</c:v>
                </c:pt>
                <c:pt idx="8">
                  <c:v>2.8112377798345887</c:v>
                </c:pt>
                <c:pt idx="9">
                  <c:v>2.945784886253120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7255467042102</c:v>
                </c:pt>
                <c:pt idx="5">
                  <c:v>2.7510497691667202</c:v>
                </c:pt>
                <c:pt idx="10">
                  <c:v>2.89218788625312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8.5856968177643211E-2</c:v>
                </c:pt>
                <c:pt idx="3">
                  <c:v>4.4939811738009643E-2</c:v>
                </c:pt>
                <c:pt idx="6">
                  <c:v>6.5910106678684936E-3</c:v>
                </c:pt>
                <c:pt idx="8">
                  <c:v>0.1345471064185322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052937149591330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3596999999999999E-2</c:v>
                </c:pt>
                <c:pt idx="5">
                  <c:v>5.3596999999999999E-2</c:v>
                </c:pt>
                <c:pt idx="10">
                  <c:v>5.3596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791437042101999</c:v>
                </c:pt>
                <c:pt idx="5">
                  <c:v>2.8046467691667201</c:v>
                </c:pt>
                <c:pt idx="10">
                  <c:v>2.945784886253120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and</c:v>
                </c:pt>
                <c:pt idx="3">
                  <c:v>Huishoudens laag inkomen (drempel)</c:v>
                </c:pt>
                <c:pt idx="4">
                  <c:v>Kernen</c:v>
                </c:pt>
                <c:pt idx="5">
                  <c:v>Leerlingen (V)SO</c:v>
                </c:pt>
                <c:pt idx="6">
                  <c:v>Inwoners</c:v>
                </c:pt>
                <c:pt idx="7">
                  <c:v>Omgevingsadressendichtheid</c:v>
                </c:pt>
                <c:pt idx="8">
                  <c:v>Minderheden</c:v>
                </c:pt>
                <c:pt idx="9">
                  <c:v>Binnenwater</c:v>
                </c:pt>
                <c:pt idx="10">
                  <c:v>Overig</c:v>
                </c:pt>
              </c:strCache>
            </c:strRef>
          </c:cat>
          <c:val>
            <c:numRef>
              <c:f>Sheet1!$B$2:$B$12</c:f>
              <c:numCache>
                <c:formatCode>General</c:formatCode>
                <c:ptCount val="11"/>
                <c:pt idx="0">
                  <c:v>1.386394152</c:v>
                </c:pt>
                <c:pt idx="1">
                  <c:v>0.70784640326399995</c:v>
                </c:pt>
                <c:pt idx="2">
                  <c:v>0.30927453179999997</c:v>
                </c:pt>
                <c:pt idx="3">
                  <c:v>0.185713991892</c:v>
                </c:pt>
                <c:pt idx="4">
                  <c:v>0.12831426503999999</c:v>
                </c:pt>
                <c:pt idx="5">
                  <c:v>7.6732300673599999E-2</c:v>
                </c:pt>
                <c:pt idx="6">
                  <c:v>4.2745210560000003E-2</c:v>
                </c:pt>
                <c:pt idx="7">
                  <c:v>2.6527255703520002E-2</c:v>
                </c:pt>
                <c:pt idx="8">
                  <c:v>2.3771761000000002E-2</c:v>
                </c:pt>
                <c:pt idx="9">
                  <c:v>3.8084467200000002E-3</c:v>
                </c:pt>
                <c:pt idx="10">
                  <c:v>1.059567600000921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5.3596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5688023304986665</c:v>
                </c:pt>
                <c:pt idx="1">
                  <c:v>0.20505397496351996</c:v>
                </c:pt>
                <c:pt idx="2">
                  <c:v>0.213801511852586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4846E-2</c:v>
                </c:pt>
                <c:pt idx="1">
                  <c:v>0.109002</c:v>
                </c:pt>
                <c:pt idx="2">
                  <c:v>0.1090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25172623304986663</c:v>
                </c:pt>
                <c:pt idx="1">
                  <c:v>0.31405597496351995</c:v>
                </c:pt>
                <c:pt idx="2">
                  <c:v>0.3228035118525867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616521438000004</c:v>
                </c:pt>
                <c:pt idx="1">
                  <c:v>-3.0622391884399995</c:v>
                </c:pt>
                <c:pt idx="2">
                  <c:v>-2.880099687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616521438000004</c:v>
                </c:pt>
                <c:pt idx="1">
                  <c:v>-3.0622391884399995</c:v>
                </c:pt>
                <c:pt idx="2">
                  <c:v>-2.8800996873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1620736497846202</c:v>
                </c:pt>
                <c:pt idx="1">
                  <c:v>8.0422785019225778</c:v>
                </c:pt>
                <c:pt idx="2">
                  <c:v>8.385359526712424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25440904984485</c:v>
                </c:pt>
                <c:pt idx="1">
                  <c:v>4.2750911871984938</c:v>
                </c:pt>
                <c:pt idx="2">
                  <c:v>4.275091187198493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8875145547691048</c:v>
                </c:pt>
                <c:pt idx="1">
                  <c:v>12.317369689121071</c:v>
                </c:pt>
                <c:pt idx="2">
                  <c:v>12.66045071391091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8.3853595267124241</c:v>
                </c:pt>
                <c:pt idx="2">
                  <c:v>8.6787625530337422</c:v>
                </c:pt>
                <c:pt idx="3">
                  <c:v>7.3451529760550445</c:v>
                </c:pt>
                <c:pt idx="4">
                  <c:v>7.6644559451658001</c:v>
                </c:pt>
                <c:pt idx="5">
                  <c:v>6.8027427287177487</c:v>
                </c:pt>
                <c:pt idx="7">
                  <c:v>7.6227785507430843</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4.2750911871984938</c:v>
                </c:pt>
                <c:pt idx="2">
                  <c:v>0</c:v>
                </c:pt>
                <c:pt idx="3">
                  <c:v>0</c:v>
                </c:pt>
                <c:pt idx="4">
                  <c:v>3.8532634400126122</c:v>
                </c:pt>
                <c:pt idx="5">
                  <c:v>0</c:v>
                </c:pt>
                <c:pt idx="7">
                  <c:v>0.96331586000315306</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12.660450713910919</c:v>
                </c:pt>
                <c:pt idx="2">
                  <c:v>8.6787625530337422</c:v>
                </c:pt>
                <c:pt idx="3">
                  <c:v>7.3451529760550445</c:v>
                </c:pt>
                <c:pt idx="4">
                  <c:v>11.517719385178413</c:v>
                </c:pt>
                <c:pt idx="5">
                  <c:v>6.8027427287177487</c:v>
                </c:pt>
                <c:pt idx="7">
                  <c:v>8.5860944107462362</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24839532330335082</c:v>
                </c:pt>
                <c:pt idx="2">
                  <c:v>0.24839532330335082</c:v>
                </c:pt>
                <c:pt idx="3">
                  <c:v>0.29546059866893093</c:v>
                </c:pt>
                <c:pt idx="4">
                  <c:v>0.29989997496351994</c:v>
                </c:pt>
                <c:pt idx="6">
                  <c:v>0.31286414777585775</c:v>
                </c:pt>
                <c:pt idx="7">
                  <c:v>0.31286414777585775</c:v>
                </c:pt>
                <c:pt idx="8">
                  <c:v>0.31286414777585775</c:v>
                </c:pt>
                <c:pt idx="9">
                  <c:v>0.3228035118525866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5688023304986665</c:v>
                </c:pt>
                <c:pt idx="5">
                  <c:v>0.20505397496351996</c:v>
                </c:pt>
                <c:pt idx="10">
                  <c:v>0.213801511852586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7065275365580111E-2</c:v>
                </c:pt>
                <c:pt idx="3">
                  <c:v>4.4393762945890095E-3</c:v>
                </c:pt>
                <c:pt idx="8">
                  <c:v>9.9393640767289296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3309097465158027E-3</c:v>
                </c:pt>
                <c:pt idx="6">
                  <c:v>1.191827187662192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4846E-2</c:v>
                </c:pt>
                <c:pt idx="5">
                  <c:v>0.109002</c:v>
                </c:pt>
                <c:pt idx="10">
                  <c:v>0.10900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4156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25172623304986663</c:v>
                </c:pt>
                <c:pt idx="5">
                  <c:v>0.31405597496351995</c:v>
                </c:pt>
                <c:pt idx="10">
                  <c:v>0.3228035118525867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laag inkomen (drempel)</c:v>
                </c:pt>
                <c:pt idx="2">
                  <c:v>Inwoners</c:v>
                </c:pt>
                <c:pt idx="3">
                  <c:v>Eenouderhuishoudens</c:v>
                </c:pt>
                <c:pt idx="4">
                  <c:v>Bijstandsontvangers</c:v>
                </c:pt>
                <c:pt idx="5">
                  <c:v>Huishoudens</c:v>
                </c:pt>
                <c:pt idx="6">
                  <c:v>Uitkeringsontvangers</c:v>
                </c:pt>
                <c:pt idx="7">
                  <c:v>Omgevingsadressendichtheid</c:v>
                </c:pt>
                <c:pt idx="8">
                  <c:v>Klantenpotentieel lokaal</c:v>
                </c:pt>
                <c:pt idx="9">
                  <c:v>Klantenpotentieel regionaal</c:v>
                </c:pt>
                <c:pt idx="10">
                  <c:v>Overig</c:v>
                </c:pt>
              </c:strCache>
            </c:strRef>
          </c:cat>
          <c:val>
            <c:numRef>
              <c:f>Sheet1!$B$2:$B$12</c:f>
              <c:numCache>
                <c:formatCode>General</c:formatCode>
                <c:ptCount val="11"/>
                <c:pt idx="0">
                  <c:v>7.7823329999999996E-2</c:v>
                </c:pt>
                <c:pt idx="1">
                  <c:v>3.2147087543999996E-2</c:v>
                </c:pt>
                <c:pt idx="2">
                  <c:v>3.1647896280000004E-2</c:v>
                </c:pt>
                <c:pt idx="3">
                  <c:v>1.375316488E-2</c:v>
                </c:pt>
                <c:pt idx="4">
                  <c:v>1.1261856493333342E-2</c:v>
                </c:pt>
                <c:pt idx="5">
                  <c:v>8.4049680000000005E-3</c:v>
                </c:pt>
                <c:pt idx="6">
                  <c:v>5.8843050933333431E-3</c:v>
                </c:pt>
                <c:pt idx="7">
                  <c:v>5.1941479699200007E-3</c:v>
                </c:pt>
                <c:pt idx="8">
                  <c:v>5.0252488000000007E-3</c:v>
                </c:pt>
                <c:pt idx="9">
                  <c:v>4.6923708000000007E-3</c:v>
                </c:pt>
                <c:pt idx="10">
                  <c:v>1.796713599200000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0.10900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580653027000002</c:v>
                </c:pt>
                <c:pt idx="1">
                  <c:v>4.7007639815899998</c:v>
                </c:pt>
                <c:pt idx="2">
                  <c:v>4.929576712840001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3340999999999993E-2</c:v>
                </c:pt>
                <c:pt idx="1">
                  <c:v>0.116674</c:v>
                </c:pt>
                <c:pt idx="2">
                  <c:v>0.11740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514063026999999</c:v>
                </c:pt>
                <c:pt idx="1">
                  <c:v>4.8174379815899995</c:v>
                </c:pt>
                <c:pt idx="2">
                  <c:v>5.046983712840001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193.33947965799902</c:v>
                </c:pt>
                <c:pt idx="2">
                  <c:v>181.12502670120492</c:v>
                </c:pt>
                <c:pt idx="3">
                  <c:v>179.6773960135508</c:v>
                </c:pt>
                <c:pt idx="4">
                  <c:v>181.09909676178464</c:v>
                </c:pt>
                <c:pt idx="5">
                  <c:v>173.82329820250993</c:v>
                </c:pt>
                <c:pt idx="7">
                  <c:v>178.93120441976257</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4.604737812291642</c:v>
                </c:pt>
                <c:pt idx="2">
                  <c:v>0</c:v>
                </c:pt>
                <c:pt idx="3">
                  <c:v>7.025644055778776</c:v>
                </c:pt>
                <c:pt idx="4">
                  <c:v>4.4611382626517422</c:v>
                </c:pt>
                <c:pt idx="5">
                  <c:v>4.028801933120274</c:v>
                </c:pt>
                <c:pt idx="7">
                  <c:v>3.8788960628876978</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197.94421747029065</c:v>
                </c:pt>
                <c:pt idx="2">
                  <c:v>181.12502670120492</c:v>
                </c:pt>
                <c:pt idx="3">
                  <c:v>186.70304006932957</c:v>
                </c:pt>
                <c:pt idx="4">
                  <c:v>185.56023502443639</c:v>
                </c:pt>
                <c:pt idx="5">
                  <c:v>177.8521001356302</c:v>
                </c:pt>
                <c:pt idx="7">
                  <c:v>182.81010048265026</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6503603262000279</c:v>
                </c:pt>
                <c:pt idx="2">
                  <c:v>4.6503603262000279</c:v>
                </c:pt>
                <c:pt idx="3">
                  <c:v>4.6503603262000279</c:v>
                </c:pt>
                <c:pt idx="4">
                  <c:v>4.7941049815899994</c:v>
                </c:pt>
                <c:pt idx="6">
                  <c:v>4.8168970200051708</c:v>
                </c:pt>
                <c:pt idx="7">
                  <c:v>4.8168970200051708</c:v>
                </c:pt>
                <c:pt idx="8">
                  <c:v>4.8168970200051708</c:v>
                </c:pt>
                <c:pt idx="9">
                  <c:v>5.046250712840000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5580653027000002</c:v>
                </c:pt>
                <c:pt idx="5">
                  <c:v>4.7007639815899998</c:v>
                </c:pt>
                <c:pt idx="10">
                  <c:v>4.929576712840001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1437446553899718</c:v>
                </c:pt>
                <c:pt idx="8">
                  <c:v>0.2293536928348300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045976499972248E-3</c:v>
                </c:pt>
                <c:pt idx="6">
                  <c:v>5.4096158482860163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3340999999999993E-2</c:v>
                </c:pt>
                <c:pt idx="5">
                  <c:v>0.116674</c:v>
                </c:pt>
                <c:pt idx="10">
                  <c:v>0.11740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3333000000000007E-2</c:v>
                </c:pt>
                <c:pt idx="9">
                  <c:v>7.3299999999999754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6514063026999999</c:v>
                </c:pt>
                <c:pt idx="5">
                  <c:v>4.8174379815899995</c:v>
                </c:pt>
                <c:pt idx="10">
                  <c:v>5.046983712840001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2.1294513068400001</c:v>
                </c:pt>
                <c:pt idx="1">
                  <c:v>1.3526267820000002</c:v>
                </c:pt>
                <c:pt idx="2">
                  <c:v>1.31429584</c:v>
                </c:pt>
                <c:pt idx="3">
                  <c:v>0.1332027840000000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0.25814618798854</c:v>
                </c:pt>
                <c:pt idx="1">
                  <c:v>-120.10194095148448</c:v>
                </c:pt>
                <c:pt idx="2">
                  <c:v>-112.958374997842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0.25814618798854</c:v>
                </c:pt>
                <c:pt idx="1">
                  <c:v>-120.10194095148448</c:v>
                </c:pt>
                <c:pt idx="2">
                  <c:v>-112.958374997842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17407</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5215805995600125</c:v>
                </c:pt>
                <c:pt idx="1">
                  <c:v>7.8043987941891295</c:v>
                </c:pt>
                <c:pt idx="2">
                  <c:v>8.182707407026024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8314999999999996E-2</c:v>
                </c:pt>
                <c:pt idx="1">
                  <c:v>7.8314999999999996E-2</c:v>
                </c:pt>
                <c:pt idx="2">
                  <c:v>7.8314999999999996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5998955995600124</c:v>
                </c:pt>
                <c:pt idx="1">
                  <c:v>7.8827137941891294</c:v>
                </c:pt>
                <c:pt idx="2">
                  <c:v>8.261022407026024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95.43896459248248</c:v>
                </c:pt>
                <c:pt idx="1">
                  <c:v>306.09086536412639</c:v>
                </c:pt>
                <c:pt idx="2">
                  <c:v>320.9282428139006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0761223928669628</c:v>
                </c:pt>
                <c:pt idx="1">
                  <c:v>3.0715378279797623</c:v>
                </c:pt>
                <c:pt idx="2">
                  <c:v>3.071537827979762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8.51508698534946</c:v>
                </c:pt>
                <c:pt idx="1">
                  <c:v>309.16240319210607</c:v>
                </c:pt>
                <c:pt idx="2">
                  <c:v>323.999780641880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320.92824281390062</c:v>
                </c:pt>
                <c:pt idx="2">
                  <c:v>216.99695266642917</c:v>
                </c:pt>
                <c:pt idx="3">
                  <c:v>345.54113477309153</c:v>
                </c:pt>
                <c:pt idx="4">
                  <c:v>348.15876575073821</c:v>
                </c:pt>
                <c:pt idx="5">
                  <c:v>245.88803366850851</c:v>
                </c:pt>
                <c:pt idx="7">
                  <c:v>289.14622171469188</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3.0715378279797623</c:v>
                </c:pt>
                <c:pt idx="2">
                  <c:v>0.40091840339102791</c:v>
                </c:pt>
                <c:pt idx="3">
                  <c:v>2.2610100055148505</c:v>
                </c:pt>
                <c:pt idx="4">
                  <c:v>2.9332728992590256</c:v>
                </c:pt>
                <c:pt idx="5">
                  <c:v>0</c:v>
                </c:pt>
                <c:pt idx="7">
                  <c:v>1.3988003270412261</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323.99978064188042</c:v>
                </c:pt>
                <c:pt idx="2">
                  <c:v>217.39787106982016</c:v>
                </c:pt>
                <c:pt idx="3">
                  <c:v>347.80214477860636</c:v>
                </c:pt>
                <c:pt idx="4">
                  <c:v>351.09203864999722</c:v>
                </c:pt>
                <c:pt idx="5">
                  <c:v>245.88803366850851</c:v>
                </c:pt>
                <c:pt idx="7">
                  <c:v>290.54502204173309</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5998955995600124</c:v>
                </c:pt>
                <c:pt idx="2">
                  <c:v>7.6443631527951084</c:v>
                </c:pt>
                <c:pt idx="3">
                  <c:v>7.6443631527951084</c:v>
                </c:pt>
                <c:pt idx="4">
                  <c:v>7.8827137941891294</c:v>
                </c:pt>
                <c:pt idx="6">
                  <c:v>7.8827137941891294</c:v>
                </c:pt>
                <c:pt idx="7">
                  <c:v>7.8803692114361823</c:v>
                </c:pt>
                <c:pt idx="8">
                  <c:v>7.8803692114361823</c:v>
                </c:pt>
                <c:pt idx="9">
                  <c:v>8.261022407026024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5215805995600125</c:v>
                </c:pt>
                <c:pt idx="5">
                  <c:v>7.8043987941891295</c:v>
                </c:pt>
                <c:pt idx="10">
                  <c:v>8.182707407026024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7342891259173403E-2</c:v>
                </c:pt>
                <c:pt idx="3">
                  <c:v>0.2383506413940211</c:v>
                </c:pt>
                <c:pt idx="6">
                  <c:v>2.6126203075497997E-2</c:v>
                </c:pt>
                <c:pt idx="8">
                  <c:v>0.3806531955898425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8753380240774252E-3</c:v>
                </c:pt>
                <c:pt idx="7">
                  <c:v>2.847078582844585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7.8314999999999996E-2</c:v>
                </c:pt>
                <c:pt idx="5">
                  <c:v>7.8314999999999996E-2</c:v>
                </c:pt>
                <c:pt idx="10">
                  <c:v>7.8314999999999996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5998955995600124</c:v>
                </c:pt>
                <c:pt idx="5">
                  <c:v>7.8827137941891294</c:v>
                </c:pt>
                <c:pt idx="10">
                  <c:v>8.261022407026024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Land</c:v>
                </c:pt>
                <c:pt idx="2">
                  <c:v>Land * bodemfactor gemeente</c:v>
                </c:pt>
                <c:pt idx="3">
                  <c:v>Opp. bebouwing kern *bodemfactor kern</c:v>
                </c:pt>
                <c:pt idx="4">
                  <c:v>Inwoners</c:v>
                </c:pt>
                <c:pt idx="5">
                  <c:v>Woonruimten * bodemfactor kern</c:v>
                </c:pt>
                <c:pt idx="6">
                  <c:v>Oppervlak bebouwing woonkernen</c:v>
                </c:pt>
                <c:pt idx="7">
                  <c:v>Oppervlak bebouwing buitengebied</c:v>
                </c:pt>
                <c:pt idx="8">
                  <c:v>Kernen * bodemfactor buiten kom</c:v>
                </c:pt>
                <c:pt idx="9">
                  <c:v>Omgevingsadressendichtheid</c:v>
                </c:pt>
                <c:pt idx="10">
                  <c:v>Overig</c:v>
                </c:pt>
              </c:strCache>
            </c:strRef>
          </c:cat>
          <c:val>
            <c:numRef>
              <c:f>Sheet1!$B$2:$B$12</c:f>
              <c:numCache>
                <c:formatCode>General</c:formatCode>
                <c:ptCount val="11"/>
                <c:pt idx="0">
                  <c:v>1.0934636398400002</c:v>
                </c:pt>
                <c:pt idx="1">
                  <c:v>1.0124330424000001</c:v>
                </c:pt>
                <c:pt idx="2">
                  <c:v>0.92098283159999994</c:v>
                </c:pt>
                <c:pt idx="3">
                  <c:v>0.81178203443999997</c:v>
                </c:pt>
                <c:pt idx="4">
                  <c:v>0.67077099647999994</c:v>
                </c:pt>
                <c:pt idx="5">
                  <c:v>0.6291133861999999</c:v>
                </c:pt>
                <c:pt idx="6">
                  <c:v>0.60038694975999995</c:v>
                </c:pt>
                <c:pt idx="7">
                  <c:v>0.43992373047999994</c:v>
                </c:pt>
                <c:pt idx="8">
                  <c:v>0.43170875279999998</c:v>
                </c:pt>
                <c:pt idx="9">
                  <c:v>0.36219906825960002</c:v>
                </c:pt>
                <c:pt idx="10">
                  <c:v>1.2099429747664239</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7.8314999999999996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052220735133184</c:v>
                </c:pt>
                <c:pt idx="1">
                  <c:v>-1.038319914052017</c:v>
                </c:pt>
                <c:pt idx="2">
                  <c:v>-1.0860075771945441</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052220735133184</c:v>
                </c:pt>
                <c:pt idx="1">
                  <c:v>-1.038319914052017</c:v>
                </c:pt>
                <c:pt idx="2">
                  <c:v>-1.0860075771945441</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9.483957481178301</c:v>
                </c:pt>
                <c:pt idx="1">
                  <c:v>-40.723218968977406</c:v>
                </c:pt>
                <c:pt idx="2">
                  <c:v>-42.593543444112797</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483957481178301</c:v>
                </c:pt>
                <c:pt idx="1">
                  <c:v>-40.723218968977406</c:v>
                </c:pt>
                <c:pt idx="2">
                  <c:v>-42.593543444112797</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42.593543444112797</c:v>
                </c:pt>
                <c:pt idx="2">
                  <c:v>-32.224997613975951</c:v>
                </c:pt>
                <c:pt idx="3">
                  <c:v>-47.393591077429676</c:v>
                </c:pt>
                <c:pt idx="4">
                  <c:v>-43.289715301155582</c:v>
                </c:pt>
                <c:pt idx="5">
                  <c:v>-41.725545125289841</c:v>
                </c:pt>
                <c:pt idx="7">
                  <c:v>-41.158462279462761</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42.593543444112797</c:v>
                </c:pt>
                <c:pt idx="2">
                  <c:v>-32.224997613975951</c:v>
                </c:pt>
                <c:pt idx="3">
                  <c:v>-47.393591077429676</c:v>
                </c:pt>
                <c:pt idx="4">
                  <c:v>-43.289715301155582</c:v>
                </c:pt>
                <c:pt idx="5">
                  <c:v>-41.725545125289841</c:v>
                </c:pt>
                <c:pt idx="7">
                  <c:v>-41.158462279462761</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112.95837499784288</c:v>
                </c:pt>
                <c:pt idx="2">
                  <c:v>-149.97650999175792</c:v>
                </c:pt>
                <c:pt idx="3">
                  <c:v>-123.03406916568186</c:v>
                </c:pt>
                <c:pt idx="4">
                  <c:v>-108.67939770140313</c:v>
                </c:pt>
                <c:pt idx="5">
                  <c:v>-128.66751791410087</c:v>
                </c:pt>
                <c:pt idx="7">
                  <c:v>-127.58937369323594</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112.95837499784288</c:v>
                </c:pt>
                <c:pt idx="2">
                  <c:v>-149.97650999175792</c:v>
                </c:pt>
                <c:pt idx="3">
                  <c:v>-123.03406916568186</c:v>
                </c:pt>
                <c:pt idx="4">
                  <c:v>-108.67939770140313</c:v>
                </c:pt>
                <c:pt idx="5">
                  <c:v>-128.66751791410087</c:v>
                </c:pt>
                <c:pt idx="7">
                  <c:v>-127.58937369323594</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065708088231098</c:v>
                </c:pt>
                <c:pt idx="2">
                  <c:v>-1.0065708088231098</c:v>
                </c:pt>
                <c:pt idx="3">
                  <c:v>-1.038319914052017</c:v>
                </c:pt>
                <c:pt idx="4">
                  <c:v>-1.038319914052017</c:v>
                </c:pt>
                <c:pt idx="6">
                  <c:v>-1.038319914052017</c:v>
                </c:pt>
                <c:pt idx="7">
                  <c:v>-1.0354881584868998</c:v>
                </c:pt>
                <c:pt idx="8">
                  <c:v>-1.0860075771945441</c:v>
                </c:pt>
                <c:pt idx="9">
                  <c:v>-1.086007577194544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052220735133184</c:v>
                </c:pt>
                <c:pt idx="5">
                  <c:v>-1.038319914052017</c:v>
                </c:pt>
                <c:pt idx="10">
                  <c:v>-1.086007577194544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6">
                  <c:v>2.8317555651172521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3487353097913616E-3</c:v>
                </c:pt>
                <c:pt idx="3">
                  <c:v>3.1749105228907212E-2</c:v>
                </c:pt>
                <c:pt idx="8">
                  <c:v>5.0519418707644398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052220735133184</c:v>
                </c:pt>
                <c:pt idx="5">
                  <c:v>-1.038319914052017</c:v>
                </c:pt>
                <c:pt idx="10">
                  <c:v>-1.086007577194544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Land * bodemfactor gemeente</c:v>
                </c:pt>
                <c:pt idx="5">
                  <c:v>Oeverlengte * bodemfactor gemeente</c:v>
                </c:pt>
                <c:pt idx="6">
                  <c:v>Omgevingsadressendichtheid</c:v>
                </c:pt>
                <c:pt idx="7">
                  <c:v>Oeverlengte *dichtheid *bodemf. gem.</c:v>
                </c:pt>
                <c:pt idx="10">
                  <c:v>Overig</c:v>
                </c:pt>
              </c:strCache>
            </c:strRef>
          </c:cat>
          <c:val>
            <c:numRef>
              <c:f>Sheet1!$B$2:$B$12</c:f>
              <c:numCache>
                <c:formatCode>General</c:formatCode>
                <c:ptCount val="11"/>
                <c:pt idx="0">
                  <c:v>-1.24824705772</c:v>
                </c:pt>
                <c:pt idx="1">
                  <c:v>0.36474878752000006</c:v>
                </c:pt>
                <c:pt idx="2">
                  <c:v>-0.22482336708</c:v>
                </c:pt>
                <c:pt idx="3">
                  <c:v>-0.10693193940000004</c:v>
                </c:pt>
                <c:pt idx="4">
                  <c:v>4.7165266200000007E-2</c:v>
                </c:pt>
                <c:pt idx="5">
                  <c:v>3.4659128399999996E-2</c:v>
                </c:pt>
                <c:pt idx="6">
                  <c:v>2.8011297980640004E-2</c:v>
                </c:pt>
                <c:pt idx="7">
                  <c:v>1.941030690481625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041060952228002</c:v>
                </c:pt>
                <c:pt idx="1">
                  <c:v>2.28406593532408</c:v>
                </c:pt>
                <c:pt idx="2">
                  <c:v>2.39419249231968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041060952228002</c:v>
                </c:pt>
                <c:pt idx="1">
                  <c:v>2.28406593532408</c:v>
                </c:pt>
                <c:pt idx="2">
                  <c:v>2.39419249231968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6.574731734270785</c:v>
                </c:pt>
                <c:pt idx="1">
                  <c:v>89.581752179632105</c:v>
                </c:pt>
                <c:pt idx="2">
                  <c:v>93.9009488300459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6.574731734270785</c:v>
                </c:pt>
                <c:pt idx="1">
                  <c:v>89.581752179632105</c:v>
                </c:pt>
                <c:pt idx="2">
                  <c:v>93.9009488300459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93.900948830045905</c:v>
                </c:pt>
                <c:pt idx="2">
                  <c:v>78.413100047738141</c:v>
                </c:pt>
                <c:pt idx="3">
                  <c:v>101.52417437277239</c:v>
                </c:pt>
                <c:pt idx="4">
                  <c:v>95.014653837471229</c:v>
                </c:pt>
                <c:pt idx="5">
                  <c:v>84.21654251156599</c:v>
                </c:pt>
                <c:pt idx="7">
                  <c:v>89.792117692386938</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93.900948830045905</c:v>
                </c:pt>
                <c:pt idx="2">
                  <c:v>78.413100047738141</c:v>
                </c:pt>
                <c:pt idx="3">
                  <c:v>101.52417437277239</c:v>
                </c:pt>
                <c:pt idx="4">
                  <c:v>95.014653837471229</c:v>
                </c:pt>
                <c:pt idx="5">
                  <c:v>84.21654251156599</c:v>
                </c:pt>
                <c:pt idx="7">
                  <c:v>89.792117692386938</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041060952228002</c:v>
                </c:pt>
                <c:pt idx="2">
                  <c:v>2.2142618944438066</c:v>
                </c:pt>
                <c:pt idx="3">
                  <c:v>2.2142618944438066</c:v>
                </c:pt>
                <c:pt idx="4">
                  <c:v>2.28406593532408</c:v>
                </c:pt>
                <c:pt idx="6">
                  <c:v>2.2828008712404588</c:v>
                </c:pt>
                <c:pt idx="7">
                  <c:v>2.2828008712404588</c:v>
                </c:pt>
                <c:pt idx="8">
                  <c:v>2.2828008712404588</c:v>
                </c:pt>
                <c:pt idx="9">
                  <c:v>2.39419249231968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041060952228002</c:v>
                </c:pt>
                <c:pt idx="5">
                  <c:v>2.28406593532408</c:v>
                </c:pt>
                <c:pt idx="10">
                  <c:v>2.39419249231968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0155799221006538E-2</c:v>
                </c:pt>
                <c:pt idx="3">
                  <c:v>6.9804040880273227E-2</c:v>
                </c:pt>
                <c:pt idx="8">
                  <c:v>0.1113916210792216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1.265064083621181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041060952228002</c:v>
                </c:pt>
                <c:pt idx="5">
                  <c:v>2.28406593532408</c:v>
                </c:pt>
                <c:pt idx="10">
                  <c:v>2.39419249231968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Land</c:v>
                </c:pt>
                <c:pt idx="4">
                  <c:v>Omgevingsadressendichtheid</c:v>
                </c:pt>
                <c:pt idx="5">
                  <c:v>Kernen</c:v>
                </c:pt>
                <c:pt idx="6">
                  <c:v>Opp. bebouwing totaal</c:v>
                </c:pt>
                <c:pt idx="7">
                  <c:v>Huishoudens laag inkomen (drempel)</c:v>
                </c:pt>
                <c:pt idx="8">
                  <c:v>Klantenpotentieel regionaal</c:v>
                </c:pt>
                <c:pt idx="9">
                  <c:v>Minderheden</c:v>
                </c:pt>
                <c:pt idx="10">
                  <c:v>Overig</c:v>
                </c:pt>
              </c:strCache>
            </c:strRef>
          </c:cat>
          <c:val>
            <c:numRef>
              <c:f>Sheet1!$B$2:$B$12</c:f>
              <c:numCache>
                <c:formatCode>General</c:formatCode>
                <c:ptCount val="11"/>
                <c:pt idx="0">
                  <c:v>1.1478628688799999</c:v>
                </c:pt>
                <c:pt idx="1">
                  <c:v>0.44747830399999999</c:v>
                </c:pt>
                <c:pt idx="2">
                  <c:v>0.17264093464800001</c:v>
                </c:pt>
                <c:pt idx="3">
                  <c:v>0.17245925580000002</c:v>
                </c:pt>
                <c:pt idx="4">
                  <c:v>0.12280449843168002</c:v>
                </c:pt>
                <c:pt idx="5">
                  <c:v>9.1210055040000002E-2</c:v>
                </c:pt>
                <c:pt idx="6">
                  <c:v>6.2804551680000001E-2</c:v>
                </c:pt>
                <c:pt idx="7">
                  <c:v>6.0999321239999994E-2</c:v>
                </c:pt>
                <c:pt idx="8">
                  <c:v>3.0273359999999999E-2</c:v>
                </c:pt>
                <c:pt idx="9">
                  <c:v>2.8427781199999998E-2</c:v>
                </c:pt>
                <c:pt idx="10">
                  <c:v>5.723156140000051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855291926785006</c:v>
                </c:pt>
                <c:pt idx="1">
                  <c:v>2.8922558746376001</c:v>
                </c:pt>
                <c:pt idx="2">
                  <c:v>3.0313352161196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855291926785006</c:v>
                </c:pt>
                <c:pt idx="1">
                  <c:v>2.8922558746376001</c:v>
                </c:pt>
                <c:pt idx="2">
                  <c:v>3.03133521611960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9.41235683563771</c:v>
                </c:pt>
                <c:pt idx="1">
                  <c:v>113.43514431649214</c:v>
                </c:pt>
                <c:pt idx="2">
                  <c:v>118.889877872675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9.41235683563771</c:v>
                </c:pt>
                <c:pt idx="1">
                  <c:v>113.43514431649214</c:v>
                </c:pt>
                <c:pt idx="2">
                  <c:v>118.889877872675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0621878141927898</c:v>
                </c:pt>
                <c:pt idx="2">
                  <c:v>-3.0621878141927898</c:v>
                </c:pt>
                <c:pt idx="3">
                  <c:v>-3.0622391884399995</c:v>
                </c:pt>
                <c:pt idx="4">
                  <c:v>-3.0622391884399995</c:v>
                </c:pt>
                <c:pt idx="6">
                  <c:v>-3.0622391884399995</c:v>
                </c:pt>
                <c:pt idx="7">
                  <c:v>-3.0555008770007492</c:v>
                </c:pt>
                <c:pt idx="8">
                  <c:v>-2.8800996873199995</c:v>
                </c:pt>
                <c:pt idx="9">
                  <c:v>-2.880099687319999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0616521438000004</c:v>
                </c:pt>
                <c:pt idx="5">
                  <c:v>-3.0622391884399995</c:v>
                </c:pt>
                <c:pt idx="10">
                  <c:v>-2.8800996873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0443985476831225E-4</c:v>
                </c:pt>
                <c:pt idx="6">
                  <c:v>6.7383114392501964E-3</c:v>
                </c:pt>
                <c:pt idx="7">
                  <c:v>0.675373825289799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3567039278941983E-4</c:v>
                </c:pt>
                <c:pt idx="3">
                  <c:v>6.5581410197803811E-4</c:v>
                </c:pt>
                <c:pt idx="8">
                  <c:v>0.4999726356090500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0616521438000004</c:v>
                </c:pt>
                <c:pt idx="5">
                  <c:v>-3.0622391884399995</c:v>
                </c:pt>
                <c:pt idx="10">
                  <c:v>-2.8800996873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C$2:$C$10</c:f>
              <c:numCache>
                <c:formatCode>General</c:formatCode>
                <c:ptCount val="9"/>
                <c:pt idx="0">
                  <c:v>118.88987787267523</c:v>
                </c:pt>
                <c:pt idx="2">
                  <c:v>115.83172175165433</c:v>
                </c:pt>
                <c:pt idx="3">
                  <c:v>123.13006998440088</c:v>
                </c:pt>
                <c:pt idx="4">
                  <c:v>123.22103319664987</c:v>
                </c:pt>
                <c:pt idx="5">
                  <c:v>118.14445738101959</c:v>
                </c:pt>
                <c:pt idx="7">
                  <c:v>120.08182057843118</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oststellingwerf</c:v>
                </c:pt>
                <c:pt idx="2">
                  <c:v>Voorschoten</c:v>
                </c:pt>
                <c:pt idx="3">
                  <c:v>Aa en Hunze</c:v>
                </c:pt>
                <c:pt idx="4">
                  <c:v>Borger-Odoorn</c:v>
                </c:pt>
                <c:pt idx="5">
                  <c:v>Eijsden-Margraten</c:v>
                </c:pt>
                <c:pt idx="7">
                  <c:v>4 gemeenten</c:v>
                </c:pt>
                <c:pt idx="8">
                  <c:v>Landelijk</c:v>
                </c:pt>
              </c:strCache>
            </c:strRef>
          </c:cat>
          <c:val>
            <c:numRef>
              <c:f>Sheet1!$B$2:$B$10</c:f>
              <c:numCache>
                <c:formatCode>General</c:formatCode>
                <c:ptCount val="9"/>
                <c:pt idx="0">
                  <c:v>118.88987787267523</c:v>
                </c:pt>
                <c:pt idx="2">
                  <c:v>115.83172175165433</c:v>
                </c:pt>
                <c:pt idx="3">
                  <c:v>123.13006998440088</c:v>
                </c:pt>
                <c:pt idx="4">
                  <c:v>123.22103319664987</c:v>
                </c:pt>
                <c:pt idx="5">
                  <c:v>118.14445738101959</c:v>
                </c:pt>
                <c:pt idx="7">
                  <c:v>120.08182057843118</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7855291926785006</c:v>
                </c:pt>
                <c:pt idx="2">
                  <c:v>2.7928367982449021</c:v>
                </c:pt>
                <c:pt idx="3">
                  <c:v>2.8038991148675381</c:v>
                </c:pt>
                <c:pt idx="4">
                  <c:v>2.8922558746376001</c:v>
                </c:pt>
                <c:pt idx="6">
                  <c:v>2.891475350889301</c:v>
                </c:pt>
                <c:pt idx="7">
                  <c:v>2.8903004907873244</c:v>
                </c:pt>
                <c:pt idx="8">
                  <c:v>2.8903004907873244</c:v>
                </c:pt>
                <c:pt idx="9">
                  <c:v>3.03133521611960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7855291926785006</c:v>
                </c:pt>
                <c:pt idx="5">
                  <c:v>2.8922558746376001</c:v>
                </c:pt>
                <c:pt idx="10">
                  <c:v>3.03133521611960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3076055664012523E-3</c:v>
                </c:pt>
                <c:pt idx="2">
                  <c:v>1.106231662263607E-2</c:v>
                </c:pt>
                <c:pt idx="3">
                  <c:v>8.8356759770062188E-2</c:v>
                </c:pt>
                <c:pt idx="8">
                  <c:v>0.1410347253322759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7.8052374829921478E-4</c:v>
                </c:pt>
                <c:pt idx="7">
                  <c:v>1.174860101976544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855291926785006</c:v>
                </c:pt>
                <c:pt idx="5">
                  <c:v>2.8922558746376001</c:v>
                </c:pt>
                <c:pt idx="10">
                  <c:v>3.03133521611960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Klantenpotentieel regionaal</c:v>
                </c:pt>
                <c:pt idx="4">
                  <c:v>Land</c:v>
                </c:pt>
                <c:pt idx="5">
                  <c:v>Omgevingsadressendichtheid</c:v>
                </c:pt>
                <c:pt idx="6">
                  <c:v>Bedrijfsvestigingen</c:v>
                </c:pt>
                <c:pt idx="7">
                  <c:v>Minderheden</c:v>
                </c:pt>
                <c:pt idx="8">
                  <c:v>Minderheden (drempel)</c:v>
                </c:pt>
                <c:pt idx="10">
                  <c:v>Overig</c:v>
                </c:pt>
              </c:strCache>
            </c:strRef>
          </c:cat>
          <c:val>
            <c:numRef>
              <c:f>Sheet1!$B$2:$B$12</c:f>
              <c:numCache>
                <c:formatCode>General</c:formatCode>
                <c:ptCount val="11"/>
                <c:pt idx="0">
                  <c:v>2.0973923989199998</c:v>
                </c:pt>
                <c:pt idx="1">
                  <c:v>0.64770305080000012</c:v>
                </c:pt>
                <c:pt idx="2">
                  <c:v>0.28248488112000003</c:v>
                </c:pt>
                <c:pt idx="3">
                  <c:v>-3.9658101600000002E-2</c:v>
                </c:pt>
                <c:pt idx="4">
                  <c:v>3.6364060199999999E-2</c:v>
                </c:pt>
                <c:pt idx="5">
                  <c:v>-3.1999661600400006E-2</c:v>
                </c:pt>
                <c:pt idx="6">
                  <c:v>2.8743394680000003E-2</c:v>
                </c:pt>
                <c:pt idx="7">
                  <c:v>1.03051936E-2</c:v>
                </c:pt>
                <c:pt idx="9">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1.6661615999999999</c:v>
                </c:pt>
                <c:pt idx="1">
                  <c:v>-0.52325013832</c:v>
                </c:pt>
                <c:pt idx="2">
                  <c:v>-0.40263455400000009</c:v>
                </c:pt>
                <c:pt idx="3">
                  <c:v>-0.34441697500000001</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840814634188659</c:v>
                </c:pt>
                <c:pt idx="1">
                  <c:v>3.97267054337778</c:v>
                </c:pt>
                <c:pt idx="2">
                  <c:v>4.00449435977448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1601400000000001</c:v>
                </c:pt>
                <c:pt idx="1">
                  <c:v>3.3876040000000001</c:v>
                </c:pt>
                <c:pt idx="2">
                  <c:v>3.224047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000954634188657</c:v>
                </c:pt>
                <c:pt idx="1">
                  <c:v>7.3602745433777805</c:v>
                </c:pt>
                <c:pt idx="2">
                  <c:v>7.22854235977448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43.326598064342051</cx:pt>
          <cx:pt idx="1">-2.88009968732</cx:pt>
          <cx:pt idx="2">40.446498377022053</cx:pt>
          <cx:pt idx="3">4.6707409999999996</cx:pt>
          <cx:pt idx="4">45.11723937702205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Ooststellingwerf</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Ooststellingwerf is ca. 45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543245558"/>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5,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0,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3,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Ooststellingwerf is ca. 45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3926235497"/>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1697487720"/>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010260212"/>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8210912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Ooststellingwerf is ca. 45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15696101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1,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4,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Ooststellingwerf ca. 1.77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618214789"/>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Ooststellingwerf</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7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326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1653056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9904634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70186964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509723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9314855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66794186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69669246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8239539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97045317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466355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5935304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0184492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7888504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9054871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1989982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23594476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4325910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4432170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3987069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9283369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12275095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4980002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2518719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7867752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7232017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44327506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851022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3545395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74373166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8510858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0431526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44053187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6356768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866159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41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71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71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95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7493669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1160210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7392017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4363469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11269247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28580663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7546753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2530721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046483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56111251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67581977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5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8945545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5512295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4368458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3639073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17824056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84909712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2488910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4113414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27186858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8725344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0785395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417</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71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710</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9869796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9145972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3594936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2953160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55194992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3994065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9226072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1762867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6245223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1778251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1480369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62708483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67141816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72114944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89097681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2260996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7879746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11811929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1240243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2855482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6992389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6272945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3110361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9034250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47194641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8957561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654960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1087095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4150050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9507254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54679718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4756358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1394432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58021270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1279192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7128512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878062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buitengebie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0726697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4171128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2216953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3767879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76459465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147087854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5202807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6303590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27173413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4714578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31882667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16837640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3124130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6374501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5045927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56968556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36828880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6067210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Ooststellingwerf,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17971072"/>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5,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5388333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2102449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8078203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3565506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3113451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408096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57758168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5726119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4656158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9495641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450795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65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8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30630511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7943969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5855991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5000662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7405988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Ooststellingwerf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74262061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Ooststellingwerf is ca. 45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48132750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71</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Ooststellingwerf ca. 1.77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629850955"/>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Ooststellingwerf</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5.497</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Voorschot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47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Aa En Hunz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38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orger-Odoor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37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Eijsden-Margrat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658</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976352740"/>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Ooststellingwerf</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7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26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Ooststellingwerf</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2483536403"/>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4247690896"/>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9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9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Ooststellingwerf,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11</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Ooststellingwerf is ca. 45 mln (1/3)</vt:lpstr>
      <vt:lpstr>Totale uitkering voor Ooststellingwerf is ca. 45 mln (2/3)</vt:lpstr>
      <vt:lpstr>Totale uitkering voor Ooststellingwerf is ca. 45 mln (3/3)</vt:lpstr>
      <vt:lpstr>Per inwoner ontvangt Ooststellingwerf ca. 1.770 euro</vt:lpstr>
      <vt:lpstr>Dit is ca. 326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Ooststellingwerf is ca. 45 mln</vt:lpstr>
      <vt:lpstr>Per inwoner ontvangt Ooststellingwerf ca. 1.770 euro</vt:lpstr>
      <vt:lpstr>Dit is ca. €326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4:52:28Z</dcterms:modified>
</cp:coreProperties>
</file>